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344" r:id="rId2"/>
    <p:sldId id="348" r:id="rId3"/>
    <p:sldId id="341" r:id="rId4"/>
    <p:sldId id="342" r:id="rId5"/>
    <p:sldId id="331" r:id="rId6"/>
    <p:sldId id="345" r:id="rId7"/>
    <p:sldId id="346" r:id="rId8"/>
    <p:sldId id="351" r:id="rId9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C7F3"/>
    <a:srgbClr val="9FB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59" autoAdjust="0"/>
    <p:restoredTop sz="92832" autoAdjust="0"/>
  </p:normalViewPr>
  <p:slideViewPr>
    <p:cSldViewPr>
      <p:cViewPr>
        <p:scale>
          <a:sx n="80" d="100"/>
          <a:sy n="80" d="100"/>
        </p:scale>
        <p:origin x="-2514" y="-6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2B6DCF-4DCF-48BE-839D-2D5613DE19A1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1388" y="746125"/>
            <a:ext cx="497522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400"/>
            <a:ext cx="5486400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CD983E-0A64-4063-A305-B7F35AEB4FE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7135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4952663" y="-12833350"/>
            <a:ext cx="18080038" cy="13560425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724400"/>
            <a:ext cx="5457825" cy="4445000"/>
          </a:xfrm>
          <a:noFill/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pPr defTabSz="912813">
              <a:spcBef>
                <a:spcPct val="0"/>
              </a:spcBef>
            </a:pPr>
            <a:endParaRPr lang="en-US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>
            <a:extLst>
              <a:ext uri="{FF2B5EF4-FFF2-40B4-BE49-F238E27FC236}">
                <a16:creationId xmlns:a16="http://schemas.microsoft.com/office/drawing/2014/main" xmlns="" id="{A6F046A9-2900-4765-AAB7-FDDE02E5893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41388" y="746125"/>
            <a:ext cx="4975225" cy="3730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Заметки 2">
            <a:extLst>
              <a:ext uri="{FF2B5EF4-FFF2-40B4-BE49-F238E27FC236}">
                <a16:creationId xmlns:a16="http://schemas.microsoft.com/office/drawing/2014/main" xmlns="" id="{59117771-EBC6-49D9-A69F-D0E2A272A91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>
              <a:latin typeface="Open Sans Light" pitchFamily="34" charset="0"/>
            </a:endParaRPr>
          </a:p>
        </p:txBody>
      </p:sp>
      <p:sp>
        <p:nvSpPr>
          <p:cNvPr id="10244" name="Номер слайда 3">
            <a:extLst>
              <a:ext uri="{FF2B5EF4-FFF2-40B4-BE49-F238E27FC236}">
                <a16:creationId xmlns:a16="http://schemas.microsoft.com/office/drawing/2014/main" xmlns="" id="{AE7019CC-C740-42EC-B231-44443F786B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03D49AC0-8465-4B60-BF2C-C75787D887BC}" type="slidenum">
              <a:rPr lang="en-US" altLang="ru-RU"/>
              <a:pPr/>
              <a:t>4</a:t>
            </a:fld>
            <a:endParaRPr lang="en-US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60604B0-AA3D-4825-BE7B-C6D917C164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2382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2382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3619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rtlCol="0">
            <a:normAutofit/>
          </a:bodyPr>
          <a:lstStyle>
            <a:lvl1pPr marL="0" indent="0">
              <a:buNone/>
              <a:defRPr sz="10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pPr lvl="0"/>
            <a:endParaRPr lang="en-US" noProof="0" dirty="0"/>
          </a:p>
        </p:txBody>
      </p:sp>
    </p:spTree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56E75B-20AF-4944-91E4-C428AA4E6264}" type="datetimeFigureOut">
              <a:rPr lang="ru-RU" smtClean="0"/>
              <a:pPr/>
              <a:t>11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29D9D6-0F61-427D-B085-018B922F553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/>
            </a:extLst>
          </p:cNvPr>
          <p:cNvSpPr/>
          <p:nvPr/>
        </p:nvSpPr>
        <p:spPr>
          <a:xfrm>
            <a:off x="-20638" y="-44450"/>
            <a:ext cx="2319338" cy="6902450"/>
          </a:xfrm>
          <a:prstGeom prst="rect">
            <a:avLst/>
          </a:prstGeom>
          <a:solidFill>
            <a:srgbClr val="250E5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405" tIns="19202" rIns="38405" bIns="19202" anchor="ctr"/>
          <a:lstStyle/>
          <a:p>
            <a:pPr algn="ctr" defTabSz="7679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/>
                </a:solidFill>
              </a:rPr>
              <a:t>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147" name="Прямоугольник 5"/>
          <p:cNvSpPr>
            <a:spLocks noChangeArrowheads="1"/>
          </p:cNvSpPr>
          <p:nvPr/>
        </p:nvSpPr>
        <p:spPr bwMode="auto">
          <a:xfrm>
            <a:off x="2552700" y="2349500"/>
            <a:ext cx="6264275" cy="108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05" tIns="19202" rIns="38405" bIns="19202">
            <a:spAutoFit/>
          </a:bodyPr>
          <a:lstStyle/>
          <a:p>
            <a:pPr algn="ctr"/>
            <a:r>
              <a:rPr lang="kk-KZ" altLang="ru-RU" sz="3200" b="1" dirty="0">
                <a:solidFill>
                  <a:srgbClr val="002060"/>
                </a:solidFill>
                <a:latin typeface="Arial Narrow" pitchFamily="34" charset="0"/>
              </a:rPr>
              <a:t>Паспорт</a:t>
            </a:r>
          </a:p>
          <a:p>
            <a:pPr algn="ctr"/>
            <a:r>
              <a:rPr lang="kk-KZ" altLang="ru-RU" sz="800" b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</a:p>
          <a:p>
            <a:pPr algn="ctr"/>
            <a:r>
              <a:rPr lang="kk-KZ" altLang="ru-RU" sz="2800" b="1" dirty="0" smtClean="0">
                <a:solidFill>
                  <a:srgbClr val="002060"/>
                </a:solidFill>
                <a:latin typeface="Arial Narrow" pitchFamily="34" charset="0"/>
              </a:rPr>
              <a:t>КГКП  «Ясли – сад “Березка”</a:t>
            </a:r>
            <a:endParaRPr lang="ru-RU" altLang="ru-RU" sz="2800" b="1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6148" name="Прямоугольник 5"/>
          <p:cNvSpPr>
            <a:spLocks noChangeArrowheads="1"/>
          </p:cNvSpPr>
          <p:nvPr/>
        </p:nvSpPr>
        <p:spPr bwMode="auto">
          <a:xfrm>
            <a:off x="2855913" y="5516563"/>
            <a:ext cx="5830887" cy="9429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8405" tIns="19202" rIns="38405" bIns="19202">
            <a:spAutoFit/>
          </a:bodyPr>
          <a:lstStyle/>
          <a:p>
            <a:pPr algn="ctr"/>
            <a:endParaRPr lang="ru-RU" altLang="ru-RU" sz="1400" b="1" dirty="0">
              <a:solidFill>
                <a:srgbClr val="002060"/>
              </a:solidFill>
              <a:latin typeface="Arial Narrow" pitchFamily="34" charset="0"/>
              <a:ea typeface="Calibri" pitchFamily="34" charset="0"/>
              <a:cs typeface="Times New Roman" pitchFamily="18" charset="0"/>
            </a:endParaRPr>
          </a:p>
          <a:p>
            <a:pPr algn="ctr">
              <a:spcBef>
                <a:spcPts val="2000"/>
              </a:spcBef>
              <a:buFont typeface="Arial" pitchFamily="34" charset="0"/>
              <a:buNone/>
            </a:pPr>
            <a:r>
              <a:rPr lang="ru-RU" sz="1400" dirty="0">
                <a:solidFill>
                  <a:schemeClr val="tx2"/>
                </a:solidFill>
                <a:latin typeface="Arial Narrow" pitchFamily="34" charset="0"/>
                <a:ea typeface="Calibri" pitchFamily="34" charset="0"/>
                <a:cs typeface="Times New Roman" pitchFamily="18" charset="0"/>
              </a:rPr>
              <a:t>Юридический адрес:  </a:t>
            </a:r>
          </a:p>
          <a:p>
            <a:pPr algn="ctr">
              <a:buFont typeface="Arial" pitchFamily="34" charset="0"/>
              <a:buNone/>
            </a:pPr>
            <a:r>
              <a:rPr lang="ru-RU" sz="1400" b="1" dirty="0" smtClean="0">
                <a:solidFill>
                  <a:schemeClr val="tx2"/>
                </a:solidFill>
                <a:latin typeface="Arial Narrow" pitchFamily="34" charset="0"/>
                <a:ea typeface="Calibri" pitchFamily="34" charset="0"/>
                <a:cs typeface="Times New Roman" pitchFamily="18" charset="0"/>
              </a:rPr>
              <a:t>г. Сарань, </a:t>
            </a:r>
            <a:r>
              <a:rPr lang="ru-RU" sz="1400" b="1" dirty="0">
                <a:solidFill>
                  <a:schemeClr val="tx2"/>
                </a:solidFill>
                <a:latin typeface="Arial Narrow" pitchFamily="34" charset="0"/>
                <a:ea typeface="Calibri" pitchFamily="34" charset="0"/>
                <a:cs typeface="Times New Roman" pitchFamily="18" charset="0"/>
              </a:rPr>
              <a:t>ул. </a:t>
            </a:r>
            <a:r>
              <a:rPr lang="ru-RU" sz="1400" b="1" dirty="0" smtClean="0">
                <a:solidFill>
                  <a:schemeClr val="tx2"/>
                </a:solidFill>
                <a:latin typeface="Arial Narrow" pitchFamily="34" charset="0"/>
                <a:ea typeface="Calibri" pitchFamily="34" charset="0"/>
                <a:cs typeface="Times New Roman" pitchFamily="18" charset="0"/>
              </a:rPr>
              <a:t>Жамбыла, 64А</a:t>
            </a:r>
            <a:endParaRPr lang="ru-RU" sz="1400" b="1" dirty="0">
              <a:solidFill>
                <a:schemeClr val="tx2"/>
              </a:solidFill>
              <a:latin typeface="Arial Narrow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/>
            </a:extLst>
          </p:cNvPr>
          <p:cNvSpPr/>
          <p:nvPr/>
        </p:nvSpPr>
        <p:spPr>
          <a:xfrm flipV="1">
            <a:off x="2846388" y="3508375"/>
            <a:ext cx="5848350" cy="2381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6150" name="Прямоугольник 5"/>
          <p:cNvSpPr>
            <a:spLocks noChangeArrowheads="1"/>
          </p:cNvSpPr>
          <p:nvPr/>
        </p:nvSpPr>
        <p:spPr bwMode="auto">
          <a:xfrm>
            <a:off x="119063" y="1233488"/>
            <a:ext cx="1927225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05" tIns="19202" rIns="38405" bIns="19202">
            <a:spAutoFit/>
          </a:bodyPr>
          <a:lstStyle/>
          <a:p>
            <a:pPr algn="ctr"/>
            <a:r>
              <a:rPr lang="ru-RU" altLang="ru-RU" sz="1400" b="1">
                <a:solidFill>
                  <a:schemeClr val="bg1"/>
                </a:solidFill>
                <a:latin typeface="Arial Narrow" pitchFamily="34" charset="0"/>
                <a:ea typeface="Calibri" pitchFamily="34" charset="0"/>
                <a:cs typeface="Times New Roman" pitchFamily="18" charset="0"/>
              </a:rPr>
              <a:t>Управление образования Карагандинской области</a:t>
            </a:r>
          </a:p>
        </p:txBody>
      </p:sp>
      <p:sp>
        <p:nvSpPr>
          <p:cNvPr id="6151" name="TextBox 1"/>
          <p:cNvSpPr txBox="1">
            <a:spLocks noChangeArrowheads="1"/>
          </p:cNvSpPr>
          <p:nvPr/>
        </p:nvSpPr>
        <p:spPr bwMode="auto">
          <a:xfrm>
            <a:off x="261938" y="4346575"/>
            <a:ext cx="179387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solidFill>
                  <a:schemeClr val="bg1"/>
                </a:solidFill>
                <a:latin typeface="Arial Narrow" pitchFamily="34" charset="0"/>
              </a:rPr>
              <a:t>Отдел образования города Саран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203754" y="2204864"/>
            <a:ext cx="1870823" cy="1870823"/>
          </a:xfrm>
          <a:prstGeom prst="ellipse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/>
          <a:srcRect l="7672" r="6155"/>
          <a:stretch>
            <a:fillRect/>
          </a:stretch>
        </p:blipFill>
        <p:spPr bwMode="auto">
          <a:xfrm>
            <a:off x="6728717" y="3760812"/>
            <a:ext cx="1944216" cy="247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Скругленный прямоугольник 21"/>
          <p:cNvSpPr/>
          <p:nvPr/>
        </p:nvSpPr>
        <p:spPr>
          <a:xfrm>
            <a:off x="755576" y="5805264"/>
            <a:ext cx="1872208" cy="36004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i="1" dirty="0" smtClean="0">
                <a:ln w="19050">
                  <a:noFill/>
                </a:ln>
                <a:solidFill>
                  <a:schemeClr val="accent1">
                    <a:lumMod val="75000"/>
                  </a:schemeClr>
                </a:solidFill>
              </a:rPr>
              <a:t>2022 </a:t>
            </a:r>
            <a:r>
              <a:rPr lang="ru-RU" sz="1600" b="1" i="1" dirty="0">
                <a:ln w="19050">
                  <a:noFill/>
                </a:ln>
                <a:solidFill>
                  <a:schemeClr val="accent1">
                    <a:lumMod val="75000"/>
                  </a:schemeClr>
                </a:solidFill>
              </a:rPr>
              <a:t>год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83568" y="4869160"/>
            <a:ext cx="1944216" cy="57606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n w="19050">
                  <a:noFill/>
                </a:ln>
                <a:solidFill>
                  <a:schemeClr val="accent1">
                    <a:lumMod val="75000"/>
                  </a:schemeClr>
                </a:solidFill>
              </a:rPr>
              <a:t>107825,0</a:t>
            </a:r>
          </a:p>
          <a:p>
            <a:pPr algn="ctr"/>
            <a:r>
              <a:rPr lang="ru-RU" b="1" dirty="0" err="1" smtClean="0">
                <a:ln w="19050">
                  <a:noFill/>
                </a:ln>
                <a:solidFill>
                  <a:schemeClr val="accent1">
                    <a:lumMod val="75000"/>
                  </a:schemeClr>
                </a:solidFill>
              </a:rPr>
              <a:t>тыс.тенге</a:t>
            </a:r>
            <a:endParaRPr lang="ru-RU" b="1" dirty="0">
              <a:ln w="19050">
                <a:noFill/>
              </a:ln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5004048" y="5805264"/>
            <a:ext cx="1080120" cy="36004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i="1" dirty="0" smtClean="0">
                <a:ln w="19050">
                  <a:noFill/>
                </a:ln>
                <a:solidFill>
                  <a:schemeClr val="accent1">
                    <a:lumMod val="75000"/>
                  </a:schemeClr>
                </a:solidFill>
              </a:rPr>
              <a:t>2023 </a:t>
            </a:r>
            <a:r>
              <a:rPr lang="ru-RU" sz="1600" b="1" i="1" dirty="0">
                <a:ln w="19050">
                  <a:noFill/>
                </a:ln>
                <a:solidFill>
                  <a:schemeClr val="accent1">
                    <a:lumMod val="75000"/>
                  </a:schemeClr>
                </a:solidFill>
              </a:rPr>
              <a:t>год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4932040" y="4869160"/>
            <a:ext cx="1224136" cy="57606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n w="19050">
                  <a:noFill/>
                </a:ln>
                <a:solidFill>
                  <a:schemeClr val="accent1">
                    <a:lumMod val="75000"/>
                  </a:schemeClr>
                </a:solidFill>
              </a:rPr>
              <a:t>64419,0 </a:t>
            </a:r>
            <a:r>
              <a:rPr lang="ru-RU" b="1" dirty="0" err="1" smtClean="0">
                <a:ln w="19050">
                  <a:noFill/>
                </a:ln>
                <a:solidFill>
                  <a:schemeClr val="accent1">
                    <a:lumMod val="75000"/>
                  </a:schemeClr>
                </a:solidFill>
              </a:rPr>
              <a:t>тыс.тенге</a:t>
            </a:r>
            <a:endParaRPr lang="ru-RU" b="1" dirty="0">
              <a:ln w="19050">
                <a:noFill/>
              </a:ln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699792" y="4149080"/>
            <a:ext cx="1008112" cy="57606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b="1" dirty="0">
              <a:ln w="19050">
                <a:noFill/>
              </a:ln>
              <a:solidFill>
                <a:srgbClr val="C00000"/>
              </a:solidFill>
            </a:endParaRPr>
          </a:p>
        </p:txBody>
      </p:sp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446856" y="31495"/>
            <a:ext cx="8229600" cy="1143000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chemeClr val="tx2"/>
                </a:solidFill>
                <a:latin typeface="Arial Narrow" pitchFamily="34" charset="0"/>
              </a:rPr>
              <a:t>ФИНАНСИРОВАНИЕ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091282CE-7CC1-4469-B4EE-92DEA36BA897}"/>
              </a:ext>
            </a:extLst>
          </p:cNvPr>
          <p:cNvSpPr/>
          <p:nvPr/>
        </p:nvSpPr>
        <p:spPr>
          <a:xfrm flipV="1">
            <a:off x="1773976" y="836712"/>
            <a:ext cx="5847492" cy="230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28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572685"/>
              </p:ext>
            </p:extLst>
          </p:nvPr>
        </p:nvGraphicFramePr>
        <p:xfrm>
          <a:off x="538828" y="1285488"/>
          <a:ext cx="7605072" cy="264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67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0316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288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77536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Го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Общий объем финансирования</a:t>
                      </a:r>
                    </a:p>
                    <a:p>
                      <a:pPr algn="ctr"/>
                      <a:r>
                        <a:rPr lang="ru-RU" sz="1600" i="1" dirty="0"/>
                        <a:t>(тыс.</a:t>
                      </a:r>
                      <a:r>
                        <a:rPr lang="ru-RU" sz="1600" i="1" baseline="0" dirty="0"/>
                        <a:t> тенге</a:t>
                      </a:r>
                      <a:r>
                        <a:rPr lang="ru-RU" sz="1600" i="1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Республиканский бюджет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dirty="0"/>
                        <a:t>(тыс.</a:t>
                      </a:r>
                      <a:r>
                        <a:rPr lang="ru-RU" sz="1600" i="1" baseline="0" dirty="0"/>
                        <a:t> тенге</a:t>
                      </a:r>
                      <a:r>
                        <a:rPr lang="ru-RU" sz="1600" i="1" dirty="0"/>
                        <a:t>)</a:t>
                      </a:r>
                    </a:p>
                    <a:p>
                      <a:pPr algn="ctr"/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Местный бюджет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dirty="0"/>
                        <a:t>(тыс.</a:t>
                      </a:r>
                      <a:r>
                        <a:rPr lang="ru-RU" sz="1600" i="1" baseline="0" dirty="0"/>
                        <a:t> тенге</a:t>
                      </a:r>
                      <a:r>
                        <a:rPr lang="ru-RU" sz="1600" i="1" dirty="0"/>
                        <a:t>)</a:t>
                      </a:r>
                    </a:p>
                    <a:p>
                      <a:pPr algn="ctr"/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71 580,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5 653,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65 927,00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21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76 133,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14 531,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61 602,00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22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107825,0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32335,0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75490,0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23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64419,0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248,0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62171,0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C:\Users\Пользователь\Downloads\depositphotos_383776810-stock-illustration-a-set-of-vector-illustration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6182" y="5000612"/>
            <a:ext cx="1857388" cy="1857388"/>
          </a:xfrm>
          <a:prstGeom prst="rect">
            <a:avLst/>
          </a:prstGeom>
          <a:noFill/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46856" y="31495"/>
            <a:ext cx="8229600" cy="1143000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chemeClr val="tx2"/>
                </a:solidFill>
                <a:latin typeface="Arial Narrow" pitchFamily="34" charset="0"/>
              </a:rPr>
              <a:t>РЕМОНТНЫЕ РАБОТ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091282CE-7CC1-4469-B4EE-92DEA36BA897}"/>
              </a:ext>
            </a:extLst>
          </p:cNvPr>
          <p:cNvSpPr/>
          <p:nvPr/>
        </p:nvSpPr>
        <p:spPr>
          <a:xfrm flipV="1">
            <a:off x="1475656" y="813695"/>
            <a:ext cx="5847492" cy="230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3054926"/>
              </p:ext>
            </p:extLst>
          </p:nvPr>
        </p:nvGraphicFramePr>
        <p:xfrm>
          <a:off x="750066" y="1052736"/>
          <a:ext cx="7929619" cy="4104456"/>
        </p:xfrm>
        <a:graphic>
          <a:graphicData uri="http://schemas.openxmlformats.org/drawingml/2006/table">
            <a:tbl>
              <a:tblPr/>
              <a:tblGrid>
                <a:gridCol w="928694"/>
                <a:gridCol w="2286016"/>
                <a:gridCol w="1357322"/>
                <a:gridCol w="1714512"/>
                <a:gridCol w="1643075"/>
              </a:tblGrid>
              <a:tr h="36863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Год  </a:t>
                      </a: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Вид ремонта </a:t>
                      </a: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Сумма</a:t>
                      </a: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Источник финансирования</a:t>
                      </a: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Подрядчик  </a:t>
                      </a: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92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(тыс. тенге)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  </a:t>
                      </a:r>
                      <a:endParaRPr lang="ru-RU" sz="1200" b="1" i="1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5523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2020 г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1.Капитальный ремонт    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одноэтажного здания    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прачечной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2. Текущий ремонт    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ограждения(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ДКЗ)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 algn="ctr" rtl="0" fontAlgn="ctr">
                        <a:buNone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13 217,00</a:t>
                      </a:r>
                    </a:p>
                    <a:p>
                      <a:pPr marL="342900" indent="-342900" algn="ctr" rtl="0" fontAlgn="ctr">
                        <a:buAutoNum type="arabicPeriod"/>
                      </a:pP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  <a:p>
                      <a:pPr marL="342900" indent="-342900" algn="ctr" rtl="0" fontAlgn="ctr">
                        <a:buNone/>
                      </a:pP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  <a:p>
                      <a:pPr marL="342900" indent="-342900" algn="ctr" rtl="0" fontAlgn="ctr">
                        <a:buNone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2 900,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 algn="l" rtl="0" fontAlgn="ctr">
                        <a:buNone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  </a:t>
                      </a:r>
                    </a:p>
                    <a:p>
                      <a:pPr marL="342900" indent="-342900" algn="l" rtl="0" fontAlgn="ctr">
                        <a:buNone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   Местный бюджет</a:t>
                      </a:r>
                    </a:p>
                    <a:p>
                      <a:pPr marL="342900" indent="-342900" algn="l" rtl="0" fontAlgn="ctr">
                        <a:buAutoNum type="arabicPeriod"/>
                      </a:pP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  <a:p>
                      <a:pPr marL="342900" indent="-342900" algn="l" rtl="0" fontAlgn="ctr">
                        <a:buNone/>
                      </a:pP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Областной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бюдже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 algn="l" rtl="0" fontAlgn="ctr">
                        <a:buNone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1.ТОО «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latin typeface="Arial Narrow"/>
                        </a:rPr>
                        <a:t>Сары-Арка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Тех»</a:t>
                      </a:r>
                    </a:p>
                    <a:p>
                      <a:pPr marL="342900" indent="-342900" algn="l" rtl="0" fontAlgn="ctr">
                        <a:buNone/>
                      </a:pP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  <a:p>
                      <a:pPr marL="342900" indent="-342900" algn="l" rtl="0" fontAlgn="ctr">
                        <a:buNone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1. ИП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latin typeface="Arial Narrow"/>
                        </a:rPr>
                        <a:t>Оспанова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144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2021 г.</a:t>
                      </a: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1.Текущий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ремонт пищеблока </a:t>
                      </a: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   2 697,00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Местный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бюджет  </a:t>
                      </a: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ТО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«ЕМ.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Arial Narrow"/>
                        </a:rPr>
                        <a:t>Каз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 Сити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    Стро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» </a:t>
                      </a: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2671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2022 г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1.Текущий ремонт по   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благоустройству территории      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(Асфальтирование)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2.Текущий ремонт фасада   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здания я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 algn="l" rtl="0" fontAlgn="ctr">
                        <a:buNone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</a:t>
                      </a:r>
                    </a:p>
                    <a:p>
                      <a:pPr marL="342900" indent="-342900" algn="l" rtl="0" fontAlgn="ctr">
                        <a:buNone/>
                      </a:pP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6 596,00</a:t>
                      </a:r>
                    </a:p>
                    <a:p>
                      <a:pPr marL="342900" indent="-342900" algn="l" rtl="0" fontAlgn="ctr">
                        <a:buAutoNum type="arabicPeriod"/>
                      </a:pP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  <a:p>
                      <a:pPr marL="342900" indent="-342900" algn="l" rtl="0" fontAlgn="ctr">
                        <a:buNone/>
                      </a:pP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 </a:t>
                      </a:r>
                    </a:p>
                    <a:p>
                      <a:pPr marL="342900" indent="-342900" algn="l" rtl="0" fontAlgn="ctr">
                        <a:buNone/>
                      </a:pP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   5 314,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Местный бюджет</a:t>
                      </a:r>
                    </a:p>
                    <a:p>
                      <a:pPr algn="l" rtl="0" fontAlgn="ctr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  <a:p>
                      <a:pPr algn="l" rtl="0" fontAlgn="ctr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 Местный бюджет</a:t>
                      </a:r>
                    </a:p>
                    <a:p>
                      <a:pPr algn="l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ТОО «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latin typeface="Arial Narrow"/>
                        </a:rPr>
                        <a:t>Жана-Жолдар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»</a:t>
                      </a:r>
                    </a:p>
                    <a:p>
                      <a:pPr algn="l" rtl="0" fontAlgn="ctr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  <a:p>
                      <a:pPr algn="l" rtl="0" fontAlgn="ctr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latin typeface="Arial Narrow"/>
                      </a:endParaRPr>
                    </a:p>
                    <a:p>
                      <a:pPr algn="l" rtl="0" fontAlgn="ctr"/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ТОО «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latin typeface="Arial Narrow"/>
                        </a:rPr>
                        <a:t>Ем.Каз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Сити    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 Строй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057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2023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 Narrow"/>
                        </a:rPr>
                        <a:t>   _____________________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 algn="l" rtl="0" fontAlgn="ctr">
                        <a:buNone/>
                      </a:pP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7762" marR="7762" marT="77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56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42" hidden="1">
            <a:extLst>
              <a:ext uri="{FF2B5EF4-FFF2-40B4-BE49-F238E27FC236}">
                <a16:creationId xmlns:a16="http://schemas.microsoft.com/office/drawing/2014/main" xmlns="" id="{8D792809-705D-4DF7-A704-757C11C3E8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89" y="2382"/>
          <a:ext cx="5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489" y="2382"/>
                        <a:ext cx="59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Заголовок 1"/>
          <p:cNvSpPr txBox="1">
            <a:spLocks/>
          </p:cNvSpPr>
          <p:nvPr/>
        </p:nvSpPr>
        <p:spPr>
          <a:xfrm>
            <a:off x="-55122" y="41121"/>
            <a:ext cx="9165704" cy="571500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Narrow" pitchFamily="34" charset="0"/>
                <a:ea typeface="+mj-ea"/>
                <a:cs typeface="Times New Roman" pitchFamily="18" charset="0"/>
              </a:rPr>
              <a:t>ОБЕСПЕЧЕНИЕ БЕЗОПАСНОСТИ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67544" y="1268760"/>
            <a:ext cx="3600400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ru-RU" sz="6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endParaRPr lang="ru-RU" sz="6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2400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       </a:t>
            </a:r>
            <a:endParaRPr lang="ru-RU" sz="2400" dirty="0" smtClean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2400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        тревожная </a:t>
            </a:r>
            <a:r>
              <a:rPr lang="ru-RU" sz="2400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кнопка</a:t>
            </a:r>
            <a:endParaRPr lang="ru-RU" sz="24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endParaRPr lang="ru-RU" sz="6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2400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       голосовое оповещение</a:t>
            </a:r>
            <a:endParaRPr lang="ru-RU" sz="24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361950">
              <a:lnSpc>
                <a:spcPct val="150000"/>
              </a:lnSpc>
            </a:pPr>
            <a:endParaRPr lang="ru-RU" sz="6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algn="ctr"/>
            <a:endParaRPr lang="ru-RU" sz="6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algn="ctr"/>
            <a:r>
              <a:rPr lang="ru-RU" sz="2400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 </a:t>
            </a:r>
            <a:endParaRPr lang="ru-RU" sz="1600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92807" y="1196755"/>
            <a:ext cx="3936399" cy="4847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400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Всего видеокамер - </a:t>
            </a:r>
            <a:r>
              <a:rPr lang="ru-RU" sz="2400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24  </a:t>
            </a:r>
            <a:endParaRPr lang="ru-RU" sz="24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r>
              <a:rPr lang="ru-RU" i="1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внутренних – </a:t>
            </a:r>
            <a:r>
              <a:rPr lang="ru-RU" i="1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14 </a:t>
            </a:r>
            <a:endParaRPr lang="ru-RU" i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r>
              <a:rPr lang="ru-RU" i="1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наружных – </a:t>
            </a:r>
            <a:r>
              <a:rPr lang="ru-RU" i="1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10</a:t>
            </a:r>
            <a:endParaRPr lang="ru-RU" i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endParaRPr lang="ru-RU" sz="6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2400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Требуют замены </a:t>
            </a:r>
            <a:r>
              <a:rPr lang="ru-RU" sz="3200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- </a:t>
            </a:r>
            <a:r>
              <a:rPr lang="ru-RU" sz="2400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0</a:t>
            </a:r>
            <a:endParaRPr lang="ru-RU" sz="2400" b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r>
              <a:rPr lang="ru-RU" i="1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внутренних - </a:t>
            </a:r>
            <a:r>
              <a:rPr lang="ru-RU" i="1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0</a:t>
            </a:r>
            <a:endParaRPr lang="ru-RU" i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r>
              <a:rPr lang="ru-RU" i="1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наружных -  </a:t>
            </a:r>
            <a:r>
              <a:rPr lang="ru-RU" i="1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0</a:t>
            </a:r>
            <a:endParaRPr lang="ru-RU" i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2400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  Необходимо  установить </a:t>
            </a:r>
            <a:r>
              <a:rPr lang="ru-RU" sz="2400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– 3</a:t>
            </a:r>
            <a:r>
              <a:rPr lang="ru-RU" sz="2400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  </a:t>
            </a:r>
            <a:endParaRPr lang="ru-RU" sz="2400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r>
              <a:rPr lang="ru-RU" i="1" dirty="0" smtClean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внутренних- 0</a:t>
            </a:r>
            <a:endParaRPr lang="ru-RU" i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r>
              <a:rPr lang="ru-RU" i="1" dirty="0">
                <a:solidFill>
                  <a:srgbClr val="2E0F00"/>
                </a:solidFill>
                <a:latin typeface="Arial Narrow" pitchFamily="34" charset="0"/>
                <a:cs typeface="Arial" pitchFamily="34" charset="0"/>
              </a:rPr>
              <a:t>наружных -  3</a:t>
            </a:r>
            <a:endParaRPr lang="ru-RU" i="1" dirty="0" smtClean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endParaRPr lang="ru-RU" i="1" dirty="0" smtClean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endParaRPr lang="ru-RU" i="1" dirty="0" smtClean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endParaRPr lang="ru-RU" i="1" dirty="0" smtClean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  <a:p>
            <a:pPr indent="627063"/>
            <a:endParaRPr lang="ru-RU" i="1" dirty="0">
              <a:solidFill>
                <a:srgbClr val="2E0F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091282CE-7CC1-4469-B4EE-92DEA36BA897}"/>
              </a:ext>
            </a:extLst>
          </p:cNvPr>
          <p:cNvSpPr/>
          <p:nvPr/>
        </p:nvSpPr>
        <p:spPr>
          <a:xfrm flipV="1">
            <a:off x="1690830" y="673158"/>
            <a:ext cx="5847492" cy="230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50" name="Chevron 3">
            <a:extLst>
              <a:ext uri="{FF2B5EF4-FFF2-40B4-BE49-F238E27FC236}">
                <a16:creationId xmlns:a16="http://schemas.microsoft.com/office/drawing/2014/main" xmlns="" id="{C68263C6-849C-425C-AF4F-50C0484E75BA}"/>
              </a:ext>
            </a:extLst>
          </p:cNvPr>
          <p:cNvSpPr/>
          <p:nvPr/>
        </p:nvSpPr>
        <p:spPr>
          <a:xfrm>
            <a:off x="5292080" y="1966431"/>
            <a:ext cx="201863" cy="313531"/>
          </a:xfrm>
          <a:prstGeom prst="chevron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51" name="Chevron 3">
            <a:extLst>
              <a:ext uri="{FF2B5EF4-FFF2-40B4-BE49-F238E27FC236}">
                <a16:creationId xmlns:a16="http://schemas.microsoft.com/office/drawing/2014/main" xmlns="" id="{C68263C6-849C-425C-AF4F-50C0484E75BA}"/>
              </a:ext>
            </a:extLst>
          </p:cNvPr>
          <p:cNvSpPr/>
          <p:nvPr/>
        </p:nvSpPr>
        <p:spPr>
          <a:xfrm>
            <a:off x="5292081" y="3320865"/>
            <a:ext cx="201863" cy="313531"/>
          </a:xfrm>
          <a:prstGeom prst="chevron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52" name="Chevron 3">
            <a:extLst>
              <a:ext uri="{FF2B5EF4-FFF2-40B4-BE49-F238E27FC236}">
                <a16:creationId xmlns:a16="http://schemas.microsoft.com/office/drawing/2014/main" xmlns="" id="{C68263C6-849C-425C-AF4F-50C0484E75BA}"/>
              </a:ext>
            </a:extLst>
          </p:cNvPr>
          <p:cNvSpPr/>
          <p:nvPr/>
        </p:nvSpPr>
        <p:spPr>
          <a:xfrm>
            <a:off x="5292081" y="4400987"/>
            <a:ext cx="201863" cy="313531"/>
          </a:xfrm>
          <a:prstGeom prst="chevron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5C28B6B-8F41-4E33-9E35-907F7312679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5" t="15162" r="10144" b="7828"/>
          <a:stretch/>
        </p:blipFill>
        <p:spPr>
          <a:xfrm>
            <a:off x="85824" y="2204603"/>
            <a:ext cx="693205" cy="6463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51F5815C-F696-47D8-845A-95EED19D21B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69" t="10381" r="22219" b="10990"/>
          <a:stretch/>
        </p:blipFill>
        <p:spPr>
          <a:xfrm>
            <a:off x="93951" y="2986055"/>
            <a:ext cx="723540" cy="572358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214282" y="5214950"/>
            <a:ext cx="87154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 Narrow" panose="020B0606020202030204" pitchFamily="34" charset="0"/>
              </a:rPr>
              <a:t>Камеры видеонаблюдения работают исправно согласно совместному приказу Министра внутренних дел Республики Казахстан от 23 января 2019 года №49 и Министра образования науки Республики Казахстан от 23 января 2019 года  №32 «Об утверждении стандартов и требований к оснащению организаций  дошкольного и среднего образования системами видеонаблюдения». Все камеры видеонаблюдения подключены в дежурную часть города Сарани.</a:t>
            </a:r>
            <a:endParaRPr lang="x-none" sz="14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8106630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 descr="БУ компьютеры из Европы в Киеве на EUROPC • купить компьютер бу в Украине:  цены, отзывы, продажа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72330" y="5143512"/>
            <a:ext cx="1745424" cy="1539024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395536" y="60697"/>
            <a:ext cx="8229600" cy="1143000"/>
          </a:xfrm>
        </p:spPr>
        <p:txBody>
          <a:bodyPr>
            <a:normAutofit/>
          </a:bodyPr>
          <a:lstStyle/>
          <a:p>
            <a:r>
              <a:rPr lang="ru-RU" sz="2000" b="1" dirty="0">
                <a:solidFill>
                  <a:schemeClr val="tx2"/>
                </a:solidFill>
                <a:latin typeface="Arial Narrow" pitchFamily="34" charset="0"/>
              </a:rPr>
              <a:t>ОБЕСПЕЧЕННОСТЬ</a:t>
            </a:r>
            <a:r>
              <a:rPr lang="ru-RU" sz="2800" b="1" dirty="0">
                <a:solidFill>
                  <a:schemeClr val="tx2"/>
                </a:solidFill>
                <a:latin typeface="Arial Narrow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 Narrow" pitchFamily="34" charset="0"/>
              </a:rPr>
              <a:t>КОМПЬЮТЕРНОЙ ТЕХНИКОЙ </a:t>
            </a:r>
            <a:br>
              <a:rPr lang="ru-RU" sz="2000" b="1" dirty="0">
                <a:solidFill>
                  <a:schemeClr val="tx2"/>
                </a:solidFill>
                <a:latin typeface="Arial Narrow" pitchFamily="34" charset="0"/>
              </a:rPr>
            </a:br>
            <a:endParaRPr lang="ru-RU" sz="20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091282CE-7CC1-4469-B4EE-92DEA36BA897}"/>
              </a:ext>
            </a:extLst>
          </p:cNvPr>
          <p:cNvSpPr/>
          <p:nvPr/>
        </p:nvSpPr>
        <p:spPr>
          <a:xfrm flipV="1">
            <a:off x="1259632" y="669679"/>
            <a:ext cx="5847492" cy="230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9976583"/>
              </p:ext>
            </p:extLst>
          </p:nvPr>
        </p:nvGraphicFramePr>
        <p:xfrm>
          <a:off x="546124" y="1052736"/>
          <a:ext cx="7986316" cy="128016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7401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71702"/>
                <a:gridCol w="121444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600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6424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Кол-во компьютерной техники</a:t>
                      </a:r>
                    </a:p>
                  </a:txBody>
                  <a:tcPr marL="68295" marR="682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C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8</a:t>
                      </a:r>
                      <a:endParaRPr lang="ru-RU" sz="2400" b="1" dirty="0">
                        <a:solidFill>
                          <a:srgbClr val="C00000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 anchor="ctr"/>
                </a:tc>
                <a:tc row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C00000"/>
                          </a:solidFill>
                        </a:rPr>
                        <a:t>Требует замены</a:t>
                      </a:r>
                      <a:endParaRPr lang="ru-RU" sz="2400" b="1" dirty="0">
                        <a:solidFill>
                          <a:srgbClr val="C00000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 anchor="ctr"/>
                </a:tc>
                <a:tc row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C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0</a:t>
                      </a:r>
                      <a:endParaRPr lang="ru-RU" sz="2400" b="1" dirty="0">
                        <a:solidFill>
                          <a:srgbClr val="C00000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2121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из них</a:t>
                      </a:r>
                    </a:p>
                  </a:txBody>
                  <a:tcPr marL="68295" marR="68295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8295" marR="68295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2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212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компьютер</a:t>
                      </a:r>
                    </a:p>
                  </a:txBody>
                  <a:tcPr marL="68295" marR="682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2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2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2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212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ноутбук</a:t>
                      </a:r>
                    </a:p>
                  </a:txBody>
                  <a:tcPr marL="68295" marR="682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3</a:t>
                      </a:r>
                      <a:endParaRPr lang="ru-RU" sz="2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2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2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295" marR="68295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861020"/>
              </p:ext>
            </p:extLst>
          </p:nvPr>
        </p:nvGraphicFramePr>
        <p:xfrm>
          <a:off x="500034" y="3857628"/>
          <a:ext cx="8143932" cy="1190497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5445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4457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5359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3163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900" b="1" dirty="0">
                          <a:solidFill>
                            <a:srgbClr val="C00000"/>
                          </a:solidFill>
                        </a:rPr>
                        <a:t>Вид подключения</a:t>
                      </a:r>
                      <a:endParaRPr lang="ru-RU" sz="1900" b="1" dirty="0">
                        <a:solidFill>
                          <a:srgbClr val="C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900" b="1" dirty="0">
                          <a:solidFill>
                            <a:srgbClr val="C00000"/>
                          </a:solidFill>
                        </a:rPr>
                        <a:t>Скорость</a:t>
                      </a:r>
                      <a:endParaRPr lang="ru-RU" sz="1900" b="1" dirty="0">
                        <a:solidFill>
                          <a:srgbClr val="C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900" b="1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Кол-во</a:t>
                      </a:r>
                      <a:r>
                        <a:rPr lang="ru-RU" sz="1900" b="1" baseline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 точек подключения</a:t>
                      </a:r>
                      <a:endParaRPr lang="ru-RU" sz="1900" b="1" dirty="0">
                        <a:solidFill>
                          <a:srgbClr val="C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113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АО  ТОО «</a:t>
                      </a:r>
                      <a:r>
                        <a:rPr lang="en-US" sz="1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SIABELL</a:t>
                      </a:r>
                      <a:r>
                        <a:rPr lang="ru-RU" sz="1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»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по договору 14</a:t>
                      </a:r>
                      <a:r>
                        <a:rPr lang="ru-RU" sz="1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ru-RU" sz="1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м/бит</a:t>
                      </a:r>
                      <a:endParaRPr lang="ru-RU" sz="1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9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0" name="Заголовок 1"/>
          <p:cNvSpPr txBox="1">
            <a:spLocks/>
          </p:cNvSpPr>
          <p:nvPr/>
        </p:nvSpPr>
        <p:spPr>
          <a:xfrm>
            <a:off x="517668" y="2786058"/>
            <a:ext cx="8229600" cy="6429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tx2"/>
                </a:solidFill>
                <a:latin typeface="Arial Narrow" pitchFamily="34" charset="0"/>
              </a:rPr>
              <a:t>ОБЕСПЕЧЕННОСТЬ ИНТЕРНЕТОМ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091282CE-7CC1-4469-B4EE-92DEA36BA897}"/>
              </a:ext>
            </a:extLst>
          </p:cNvPr>
          <p:cNvSpPr/>
          <p:nvPr/>
        </p:nvSpPr>
        <p:spPr>
          <a:xfrm flipV="1">
            <a:off x="1643042" y="3429000"/>
            <a:ext cx="5847492" cy="230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180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-21704" y="126886"/>
            <a:ext cx="9165704" cy="571500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Narrow" pitchFamily="34" charset="0"/>
                <a:ea typeface="+mj-ea"/>
                <a:cs typeface="Times New Roman" pitchFamily="18" charset="0"/>
              </a:rPr>
              <a:t>ОБЕСПЕЧЕННОСЬ КАДРАМ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91282CE-7CC1-4469-B4EE-92DEA36BA897}"/>
              </a:ext>
            </a:extLst>
          </p:cNvPr>
          <p:cNvSpPr/>
          <p:nvPr/>
        </p:nvSpPr>
        <p:spPr>
          <a:xfrm flipV="1">
            <a:off x="1925596" y="764706"/>
            <a:ext cx="5847492" cy="230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28596" y="5013176"/>
            <a:ext cx="47914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Потребность в педагогических </a:t>
            </a:r>
            <a:r>
              <a:rPr lang="ru-RU" b="1" dirty="0" smtClean="0">
                <a:solidFill>
                  <a:srgbClr val="C00000"/>
                </a:solidFill>
              </a:rPr>
              <a:t>кадрах :</a:t>
            </a:r>
          </a:p>
          <a:p>
            <a:r>
              <a:rPr lang="ru-RU" b="1" dirty="0">
                <a:solidFill>
                  <a:srgbClr val="0070C0"/>
                </a:solidFill>
              </a:rPr>
              <a:t> </a:t>
            </a:r>
            <a:r>
              <a:rPr lang="ru-RU" b="1" dirty="0" smtClean="0">
                <a:solidFill>
                  <a:srgbClr val="0070C0"/>
                </a:solidFill>
              </a:rPr>
              <a:t>1 методист-0,5ставки;</a:t>
            </a:r>
          </a:p>
          <a:p>
            <a:r>
              <a:rPr lang="ru-RU" b="1" dirty="0" smtClean="0">
                <a:solidFill>
                  <a:srgbClr val="0070C0"/>
                </a:solidFill>
              </a:rPr>
              <a:t>1 воспитатель-1,25 ставки с русским языком обучения.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96776" y="1500174"/>
            <a:ext cx="4572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Педагогических работников </a:t>
            </a:r>
            <a:r>
              <a:rPr lang="ru-RU" b="1" dirty="0" smtClean="0">
                <a:solidFill>
                  <a:srgbClr val="C00000"/>
                </a:solidFill>
              </a:rPr>
              <a:t>-13</a:t>
            </a:r>
            <a:endParaRPr lang="ru-RU" b="1" dirty="0">
              <a:solidFill>
                <a:srgbClr val="C00000"/>
              </a:solidFill>
            </a:endParaRPr>
          </a:p>
          <a:p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Педагог- модератор – </a:t>
            </a:r>
            <a:r>
              <a:rPr lang="ru-RU" b="1" dirty="0" smtClean="0">
                <a:solidFill>
                  <a:srgbClr val="C00000"/>
                </a:solidFill>
              </a:rPr>
              <a:t>1 </a:t>
            </a:r>
            <a:r>
              <a:rPr lang="ru-RU" b="1" dirty="0">
                <a:solidFill>
                  <a:srgbClr val="C00000"/>
                </a:solidFill>
              </a:rPr>
              <a:t>чел. </a:t>
            </a:r>
            <a:r>
              <a:rPr lang="ru-RU" b="1" dirty="0" smtClean="0">
                <a:solidFill>
                  <a:srgbClr val="C00000"/>
                </a:solidFill>
              </a:rPr>
              <a:t>(  8 %)</a:t>
            </a:r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Педагог- эксперт – </a:t>
            </a:r>
            <a:r>
              <a:rPr lang="ru-RU" b="1" dirty="0" smtClean="0">
                <a:solidFill>
                  <a:srgbClr val="C00000"/>
                </a:solidFill>
              </a:rPr>
              <a:t>2 чел</a:t>
            </a:r>
            <a:r>
              <a:rPr lang="ru-RU" b="1" dirty="0">
                <a:solidFill>
                  <a:srgbClr val="C00000"/>
                </a:solidFill>
              </a:rPr>
              <a:t>. </a:t>
            </a:r>
            <a:r>
              <a:rPr lang="ru-RU" b="1" dirty="0" smtClean="0">
                <a:solidFill>
                  <a:srgbClr val="C00000"/>
                </a:solidFill>
              </a:rPr>
              <a:t>( 16 %)</a:t>
            </a:r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Педагог- исследователь – </a:t>
            </a:r>
            <a:r>
              <a:rPr lang="ru-RU" b="1" dirty="0" smtClean="0">
                <a:solidFill>
                  <a:srgbClr val="C00000"/>
                </a:solidFill>
              </a:rPr>
              <a:t>3 чел</a:t>
            </a:r>
            <a:r>
              <a:rPr lang="ru-RU" b="1" dirty="0">
                <a:solidFill>
                  <a:srgbClr val="C00000"/>
                </a:solidFill>
              </a:rPr>
              <a:t>. </a:t>
            </a:r>
            <a:r>
              <a:rPr lang="ru-RU" b="1" dirty="0" smtClean="0">
                <a:solidFill>
                  <a:srgbClr val="C00000"/>
                </a:solidFill>
              </a:rPr>
              <a:t>( 24%)</a:t>
            </a:r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Педагог – мастер – </a:t>
            </a:r>
            <a:r>
              <a:rPr lang="ru-RU" b="1" dirty="0" smtClean="0">
                <a:solidFill>
                  <a:srgbClr val="C00000"/>
                </a:solidFill>
              </a:rPr>
              <a:t>0 </a:t>
            </a:r>
            <a:r>
              <a:rPr lang="ru-RU" b="1" dirty="0">
                <a:solidFill>
                  <a:srgbClr val="C00000"/>
                </a:solidFill>
              </a:rPr>
              <a:t>чел. </a:t>
            </a:r>
            <a:r>
              <a:rPr lang="ru-RU" b="1" dirty="0" smtClean="0">
                <a:solidFill>
                  <a:srgbClr val="C00000"/>
                </a:solidFill>
              </a:rPr>
              <a:t>(0%)</a:t>
            </a:r>
            <a:endParaRPr lang="ru-RU" b="1" dirty="0">
              <a:solidFill>
                <a:srgbClr val="C00000"/>
              </a:solidFill>
            </a:endParaRPr>
          </a:p>
          <a:p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71736" y="3143248"/>
            <a:ext cx="455604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solidFill>
                <a:srgbClr val="C00000"/>
              </a:solidFill>
            </a:endParaRPr>
          </a:p>
          <a:p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Высшее образование по профилю – </a:t>
            </a:r>
            <a:r>
              <a:rPr lang="ru-RU" b="1" dirty="0">
                <a:solidFill>
                  <a:srgbClr val="C00000"/>
                </a:solidFill>
              </a:rPr>
              <a:t>5</a:t>
            </a:r>
            <a:r>
              <a:rPr lang="ru-RU" b="1" dirty="0" smtClean="0">
                <a:solidFill>
                  <a:srgbClr val="C00000"/>
                </a:solidFill>
              </a:rPr>
              <a:t> чел. (33%)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Средне-специальное по профилю – </a:t>
            </a:r>
            <a:r>
              <a:rPr lang="ru-RU" b="1" dirty="0" smtClean="0">
                <a:solidFill>
                  <a:srgbClr val="C00000"/>
                </a:solidFill>
              </a:rPr>
              <a:t>8 чел. (  67%)</a:t>
            </a:r>
          </a:p>
          <a:p>
            <a:endParaRPr lang="ru-RU" b="1" dirty="0">
              <a:solidFill>
                <a:srgbClr val="C00000"/>
              </a:solidFill>
            </a:endParaRPr>
          </a:p>
          <a:p>
            <a:r>
              <a:rPr lang="ru-RU" b="1" dirty="0" smtClean="0">
                <a:solidFill>
                  <a:srgbClr val="C00000"/>
                </a:solidFill>
              </a:rPr>
              <a:t>                                     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572000" y="1500174"/>
            <a:ext cx="4572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solidFill>
                <a:srgbClr val="C00000"/>
              </a:solidFill>
            </a:endParaRPr>
          </a:p>
          <a:p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Высшая категория – </a:t>
            </a:r>
            <a:r>
              <a:rPr lang="ru-RU" b="1" dirty="0">
                <a:solidFill>
                  <a:srgbClr val="C00000"/>
                </a:solidFill>
              </a:rPr>
              <a:t>1</a:t>
            </a:r>
            <a:r>
              <a:rPr lang="ru-RU" b="1" dirty="0" smtClean="0">
                <a:solidFill>
                  <a:srgbClr val="C00000"/>
                </a:solidFill>
              </a:rPr>
              <a:t> </a:t>
            </a:r>
            <a:r>
              <a:rPr lang="ru-RU" b="1" dirty="0">
                <a:solidFill>
                  <a:srgbClr val="C00000"/>
                </a:solidFill>
              </a:rPr>
              <a:t>чел. </a:t>
            </a:r>
            <a:r>
              <a:rPr lang="ru-RU" b="1" dirty="0" smtClean="0">
                <a:solidFill>
                  <a:srgbClr val="C00000"/>
                </a:solidFill>
              </a:rPr>
              <a:t>(  </a:t>
            </a:r>
            <a:r>
              <a:rPr lang="ru-RU" b="1" dirty="0">
                <a:solidFill>
                  <a:srgbClr val="C00000"/>
                </a:solidFill>
              </a:rPr>
              <a:t>8</a:t>
            </a:r>
            <a:r>
              <a:rPr lang="ru-RU" b="1" dirty="0" smtClean="0">
                <a:solidFill>
                  <a:srgbClr val="C00000"/>
                </a:solidFill>
              </a:rPr>
              <a:t>%)</a:t>
            </a:r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Первая категория – </a:t>
            </a:r>
            <a:r>
              <a:rPr lang="ru-RU" b="1" dirty="0">
                <a:solidFill>
                  <a:srgbClr val="C00000"/>
                </a:solidFill>
              </a:rPr>
              <a:t>2</a:t>
            </a:r>
            <a:r>
              <a:rPr lang="ru-RU" b="1" dirty="0" smtClean="0">
                <a:solidFill>
                  <a:srgbClr val="C00000"/>
                </a:solidFill>
              </a:rPr>
              <a:t> чел</a:t>
            </a:r>
            <a:r>
              <a:rPr lang="ru-RU" b="1" dirty="0">
                <a:solidFill>
                  <a:srgbClr val="C00000"/>
                </a:solidFill>
              </a:rPr>
              <a:t>. </a:t>
            </a:r>
            <a:r>
              <a:rPr lang="ru-RU" b="1" dirty="0" smtClean="0">
                <a:solidFill>
                  <a:srgbClr val="C00000"/>
                </a:solidFill>
              </a:rPr>
              <a:t>( 16%)</a:t>
            </a:r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Вторая категория – </a:t>
            </a:r>
            <a:r>
              <a:rPr lang="ru-RU" b="1" dirty="0">
                <a:solidFill>
                  <a:srgbClr val="C00000"/>
                </a:solidFill>
              </a:rPr>
              <a:t>2</a:t>
            </a:r>
            <a:r>
              <a:rPr lang="ru-RU" b="1" dirty="0" smtClean="0">
                <a:solidFill>
                  <a:srgbClr val="C00000"/>
                </a:solidFill>
              </a:rPr>
              <a:t> </a:t>
            </a:r>
            <a:r>
              <a:rPr lang="ru-RU" b="1" dirty="0">
                <a:solidFill>
                  <a:srgbClr val="C00000"/>
                </a:solidFill>
              </a:rPr>
              <a:t>чел. </a:t>
            </a:r>
            <a:r>
              <a:rPr lang="ru-RU" b="1" dirty="0" smtClean="0">
                <a:solidFill>
                  <a:srgbClr val="C00000"/>
                </a:solidFill>
              </a:rPr>
              <a:t>(  16%)</a:t>
            </a:r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Педагог– </a:t>
            </a:r>
            <a:r>
              <a:rPr lang="ru-RU" b="1" dirty="0">
                <a:solidFill>
                  <a:srgbClr val="C00000"/>
                </a:solidFill>
              </a:rPr>
              <a:t>2</a:t>
            </a:r>
            <a:r>
              <a:rPr lang="ru-RU" b="1" dirty="0" smtClean="0">
                <a:solidFill>
                  <a:srgbClr val="C00000"/>
                </a:solidFill>
              </a:rPr>
              <a:t> </a:t>
            </a:r>
            <a:r>
              <a:rPr lang="ru-RU" b="1" dirty="0">
                <a:solidFill>
                  <a:srgbClr val="C00000"/>
                </a:solidFill>
              </a:rPr>
              <a:t>чел. </a:t>
            </a:r>
            <a:r>
              <a:rPr lang="ru-RU" b="1" dirty="0" smtClean="0">
                <a:solidFill>
                  <a:srgbClr val="C00000"/>
                </a:solidFill>
              </a:rPr>
              <a:t>( 16%)</a:t>
            </a:r>
            <a:endParaRPr lang="ru-RU" b="1" dirty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endParaRPr lang="ru-RU" b="1" dirty="0">
              <a:solidFill>
                <a:srgbClr val="C00000"/>
              </a:solidFill>
            </a:endParaRPr>
          </a:p>
          <a:p>
            <a:r>
              <a:rPr lang="ru-RU" b="1" dirty="0" smtClean="0">
                <a:solidFill>
                  <a:srgbClr val="C00000"/>
                </a:solidFill>
              </a:rPr>
              <a:t>                   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355976" y="3789040"/>
            <a:ext cx="74168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solidFill>
                <a:srgbClr val="C00000"/>
              </a:solidFill>
            </a:endParaRPr>
          </a:p>
          <a:p>
            <a:endParaRPr lang="ru-RU" b="1" dirty="0">
              <a:solidFill>
                <a:srgbClr val="C00000"/>
              </a:solidFill>
            </a:endParaRPr>
          </a:p>
          <a:p>
            <a:endParaRPr lang="ru-RU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060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-21704" y="126886"/>
            <a:ext cx="9165704" cy="571500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Narrow" pitchFamily="34" charset="0"/>
                <a:ea typeface="+mj-ea"/>
                <a:cs typeface="Times New Roman" pitchFamily="18" charset="0"/>
              </a:rPr>
              <a:t>КОНТИНГЕНТ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802245"/>
              </p:ext>
            </p:extLst>
          </p:nvPr>
        </p:nvGraphicFramePr>
        <p:xfrm>
          <a:off x="755577" y="1196752"/>
          <a:ext cx="7885540" cy="1729468"/>
        </p:xfrm>
        <a:graphic>
          <a:graphicData uri="http://schemas.openxmlformats.org/drawingml/2006/table">
            <a:tbl>
              <a:tblPr/>
              <a:tblGrid>
                <a:gridCol w="15255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593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9912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9896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025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Год 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Arial Narrow" pitchFamily="34" charset="0"/>
                        </a:rPr>
                        <a:t>Кол-во </a:t>
                      </a:r>
                      <a:r>
                        <a:rPr lang="ru-RU" sz="1600" b="1" dirty="0" smtClean="0">
                          <a:latin typeface="Arial Narrow" pitchFamily="34" charset="0"/>
                        </a:rPr>
                        <a:t>групп</a:t>
                      </a:r>
                      <a:endParaRPr lang="ru-RU" sz="1600" b="1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latin typeface="Arial Narrow" pitchFamily="34" charset="0"/>
                        </a:rPr>
                        <a:t>Кол-во </a:t>
                      </a:r>
                      <a:r>
                        <a:rPr lang="ru-RU" sz="1600" b="1" dirty="0" smtClean="0">
                          <a:latin typeface="Arial Narrow" pitchFamily="34" charset="0"/>
                        </a:rPr>
                        <a:t>воспитанников</a:t>
                      </a:r>
                      <a:endParaRPr lang="ru-RU" sz="1600" b="1" dirty="0">
                        <a:latin typeface="Arial Narrow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Проектная мощность </a:t>
                      </a: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%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загруженности</a:t>
                      </a: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0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2019 – 2020 уч. г.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4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itchFamily="34" charset="0"/>
                        </a:rPr>
                        <a:t>95</a:t>
                      </a:r>
                      <a:endParaRPr lang="ru-RU" sz="1600" dirty="0">
                        <a:latin typeface="Arial Narrow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95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100%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08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2020 – 2021 </a:t>
                      </a:r>
                      <a:r>
                        <a:rPr lang="ru-RU" sz="1600" b="1" dirty="0" err="1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уч</a:t>
                      </a:r>
                      <a:r>
                        <a:rPr lang="ru-RU" sz="1600" b="1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. г</a:t>
                      </a:r>
                      <a:r>
                        <a:rPr lang="ru-RU" sz="1600" b="1" dirty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.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4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95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95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100%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08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2021 – 2022 </a:t>
                      </a:r>
                      <a:r>
                        <a:rPr lang="ru-RU" sz="1600" b="1" dirty="0" err="1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уч</a:t>
                      </a:r>
                      <a:r>
                        <a:rPr lang="ru-RU" sz="1600" b="1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. г</a:t>
                      </a:r>
                      <a:r>
                        <a:rPr lang="ru-RU" sz="1600" b="1" dirty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.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4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85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95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89%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408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2022 -  2023 </a:t>
                      </a:r>
                      <a:r>
                        <a:rPr lang="ru-RU" sz="1600" b="1" dirty="0" err="1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уч.г</a:t>
                      </a:r>
                      <a:endParaRPr lang="ru-RU" sz="1600" b="1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4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93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95</a:t>
                      </a:r>
                      <a:endParaRPr lang="ru-RU" sz="1600" dirty="0"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9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8</a:t>
                      </a: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Calibri"/>
                          <a:cs typeface="Arial" pitchFamily="34" charset="0"/>
                        </a:rPr>
                        <a:t>%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 Narrow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1680" marR="41680" marT="41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20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70430335"/>
              </p:ext>
            </p:extLst>
          </p:nvPr>
        </p:nvGraphicFramePr>
        <p:xfrm>
          <a:off x="491432" y="4077072"/>
          <a:ext cx="8293081" cy="2189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607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858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001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0013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0013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7157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7448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 Narrow" panose="020B0606020202030204" pitchFamily="34" charset="0"/>
                        </a:rPr>
                        <a:t>Группы </a:t>
                      </a:r>
                      <a:endParaRPr lang="ru-RU" sz="1600" b="1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 Narrow" panose="020B0606020202030204" pitchFamily="34" charset="0"/>
                        </a:rPr>
                        <a:t>Кол-во групп</a:t>
                      </a:r>
                      <a:endParaRPr lang="ru-RU" sz="1600" b="1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latin typeface="Arial Narrow" panose="020B0606020202030204" pitchFamily="34" charset="0"/>
                        </a:rPr>
                        <a:t>Контингент </a:t>
                      </a:r>
                      <a:r>
                        <a:rPr lang="ru-RU" sz="1600" b="1" dirty="0" smtClean="0">
                          <a:latin typeface="Arial Narrow" panose="020B0606020202030204" pitchFamily="34" charset="0"/>
                        </a:rPr>
                        <a:t>воспитанников</a:t>
                      </a:r>
                      <a:endParaRPr lang="ru-RU" sz="1600" b="1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err="1">
                          <a:latin typeface="Arial Narrow" panose="020B0606020202030204" pitchFamily="34" charset="0"/>
                        </a:rPr>
                        <a:t>каз</a:t>
                      </a:r>
                      <a:r>
                        <a:rPr lang="ru-RU" sz="1600" b="1" dirty="0">
                          <a:latin typeface="Arial Narrow" panose="020B0606020202030204" pitchFamily="34" charset="0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latin typeface="Arial Narrow" panose="020B0606020202030204" pitchFamily="34" charset="0"/>
                        </a:rPr>
                        <a:t>рус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err="1">
                          <a:latin typeface="Arial Narrow" panose="020B0606020202030204" pitchFamily="34" charset="0"/>
                        </a:rPr>
                        <a:t>каз</a:t>
                      </a:r>
                      <a:r>
                        <a:rPr lang="ru-RU" sz="1600" b="1" dirty="0">
                          <a:latin typeface="Arial Narrow" panose="020B0606020202030204" pitchFamily="34" charset="0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latin typeface="Arial Narrow" panose="020B0606020202030204" pitchFamily="34" charset="0"/>
                        </a:rPr>
                        <a:t>рус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Arial Narrow" panose="020B0606020202030204" pitchFamily="34" charset="0"/>
                        </a:rPr>
                        <a:t>Младшая  гр.</a:t>
                      </a:r>
                      <a:endParaRPr lang="ru-RU" sz="1600" b="1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2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2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Arial Narrow" panose="020B0606020202030204" pitchFamily="34" charset="0"/>
                        </a:rPr>
                        <a:t>Средняя  гр.</a:t>
                      </a:r>
                      <a:endParaRPr lang="ru-RU" sz="1600" b="1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 Narrow" panose="020B0606020202030204" pitchFamily="34" charset="0"/>
                        </a:rPr>
                        <a:t>25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25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Arial Narrow" panose="020B0606020202030204" pitchFamily="34" charset="0"/>
                        </a:rPr>
                        <a:t>Старшая  гр.</a:t>
                      </a:r>
                      <a:endParaRPr lang="ru-RU" sz="1600" b="1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2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 Narrow" panose="020B0606020202030204" pitchFamily="34" charset="0"/>
                        </a:rPr>
                        <a:t>2</a:t>
                      </a:r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err="1" smtClean="0">
                          <a:latin typeface="Arial Narrow" panose="020B0606020202030204" pitchFamily="34" charset="0"/>
                        </a:rPr>
                        <a:t>Предшкольная</a:t>
                      </a:r>
                      <a:r>
                        <a:rPr lang="ru-RU" sz="1600" b="1" dirty="0" smtClean="0">
                          <a:latin typeface="Arial Narrow" panose="020B0606020202030204" pitchFamily="34" charset="0"/>
                        </a:rPr>
                        <a:t> гр.</a:t>
                      </a:r>
                      <a:endParaRPr lang="ru-RU" sz="1600" b="1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22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22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5B5A8E9C-605B-43F5-BDAB-F731E497186C}"/>
              </a:ext>
            </a:extLst>
          </p:cNvPr>
          <p:cNvSpPr/>
          <p:nvPr/>
        </p:nvSpPr>
        <p:spPr>
          <a:xfrm>
            <a:off x="2483768" y="3533753"/>
            <a:ext cx="38164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000" b="1" dirty="0" smtClean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2022-2023 </a:t>
            </a:r>
            <a:r>
              <a:rPr lang="ru-RU" sz="2000" b="1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УЧЕБНЫЙ ГОД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90517F67-62A5-4243-8587-923421AE6C67}"/>
              </a:ext>
            </a:extLst>
          </p:cNvPr>
          <p:cNvSpPr/>
          <p:nvPr/>
        </p:nvSpPr>
        <p:spPr>
          <a:xfrm flipV="1">
            <a:off x="1979712" y="3330485"/>
            <a:ext cx="5847492" cy="230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7C32663D-A954-4ACB-9D3A-FA9B69E35DF3}"/>
              </a:ext>
            </a:extLst>
          </p:cNvPr>
          <p:cNvSpPr/>
          <p:nvPr/>
        </p:nvSpPr>
        <p:spPr>
          <a:xfrm flipV="1">
            <a:off x="1998149" y="775821"/>
            <a:ext cx="5847492" cy="230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3653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981694"/>
            <a:ext cx="3399892" cy="2549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31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ru-RU" altLang="ru-RU" sz="1200"/>
              <a:t>.</a:t>
            </a:r>
            <a:fld id="{AF372D3F-E783-47DF-BF8B-CF9592AE387C}" type="slidenum">
              <a:rPr lang="ru-RU" altLang="ru-RU" sz="1200"/>
              <a:pPr/>
              <a:t>8</a:t>
            </a:fld>
            <a:endParaRPr lang="ru-RU" altLang="ru-RU" sz="1200"/>
          </a:p>
        </p:txBody>
      </p:sp>
      <p:sp>
        <p:nvSpPr>
          <p:cNvPr id="5" name="Прямоугольник 4"/>
          <p:cNvSpPr/>
          <p:nvPr/>
        </p:nvSpPr>
        <p:spPr>
          <a:xfrm>
            <a:off x="1403648" y="1268760"/>
            <a:ext cx="669674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ru-RU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Благоустройство игровых участков и спортивной площадки</a:t>
            </a:r>
          </a:p>
          <a:p>
            <a:pPr marL="342900" indent="-342900" algn="just"/>
            <a:endParaRPr lang="ru-RU" b="1" dirty="0">
              <a:solidFill>
                <a:srgbClr val="FF0000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ru-RU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гровые участки  и спортивная площадка устаревшие, оборудование установлено очень давно  и до этого времени не обновлялось. Смета на благоустройство игровых участков и спортивной  площадки  имеется.</a:t>
            </a:r>
            <a:endParaRPr lang="ru-RU" b="1" dirty="0">
              <a:solidFill>
                <a:srgbClr val="FF0000"/>
              </a:solidFill>
              <a:latin typeface="Arial Narrow" panose="020B0606020202030204" pitchFamily="34" charset="0"/>
            </a:endParaRPr>
          </a:p>
          <a:p>
            <a:pPr algn="just"/>
            <a:endParaRPr lang="ru-RU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5C0E2CB7-F222-45B7-9BB1-93B21A19C5B8}"/>
              </a:ext>
            </a:extLst>
          </p:cNvPr>
          <p:cNvSpPr/>
          <p:nvPr/>
        </p:nvSpPr>
        <p:spPr>
          <a:xfrm>
            <a:off x="1619672" y="224646"/>
            <a:ext cx="60486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800" b="1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ПРОБЛЕМНЫЕ ВОПРОСЫ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1A1EE386-3CD5-47A4-B169-C53ACBE256E5}"/>
              </a:ext>
            </a:extLst>
          </p:cNvPr>
          <p:cNvSpPr/>
          <p:nvPr/>
        </p:nvSpPr>
        <p:spPr>
          <a:xfrm flipV="1">
            <a:off x="1619672" y="764704"/>
            <a:ext cx="5847492" cy="230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402" tIns="11701" rIns="23402" bIns="11701" anchor="ctr"/>
          <a:lstStyle/>
          <a:p>
            <a:pPr algn="ctr" defTabSz="767942">
              <a:defRPr/>
            </a:pPr>
            <a:endParaRPr lang="ru-RU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pic>
        <p:nvPicPr>
          <p:cNvPr id="30722" name="Picture 2" descr="C:\Users\сулпак\Downloads\20220214_131622.jpg"/>
          <p:cNvPicPr>
            <a:picLocks noChangeAspect="1" noChangeArrowheads="1"/>
          </p:cNvPicPr>
          <p:nvPr/>
        </p:nvPicPr>
        <p:blipFill>
          <a:blip r:embed="rId3" cstate="print"/>
          <a:srcRect b="17040"/>
          <a:stretch>
            <a:fillRect/>
          </a:stretch>
        </p:blipFill>
        <p:spPr bwMode="auto">
          <a:xfrm>
            <a:off x="5292080" y="3981693"/>
            <a:ext cx="3528392" cy="254991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05886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9</TotalTime>
  <Words>624</Words>
  <Application>Microsoft Office PowerPoint</Application>
  <PresentationFormat>Экран (4:3)</PresentationFormat>
  <Paragraphs>227</Paragraphs>
  <Slides>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think-cell Slide</vt:lpstr>
      <vt:lpstr>Презентация PowerPoint</vt:lpstr>
      <vt:lpstr>ФИНАНСИРОВАНИЕ</vt:lpstr>
      <vt:lpstr>РЕМОНТНЫЕ РАБОТЫ</vt:lpstr>
      <vt:lpstr>Презентация PowerPoint</vt:lpstr>
      <vt:lpstr>ОБЕСПЕЧЕННОСТЬ КОМПЬЮТЕРНОЙ ТЕХНИКОЙ  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ользователь</dc:creator>
  <cp:lastModifiedBy>RePack by Diakov</cp:lastModifiedBy>
  <cp:revision>284</cp:revision>
  <cp:lastPrinted>2021-02-12T04:37:57Z</cp:lastPrinted>
  <dcterms:created xsi:type="dcterms:W3CDTF">2021-02-11T05:34:02Z</dcterms:created>
  <dcterms:modified xsi:type="dcterms:W3CDTF">2023-08-11T07:56:00Z</dcterms:modified>
</cp:coreProperties>
</file>